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</p:sldMasterIdLst>
  <p:notesMasterIdLst>
    <p:notesMasterId r:id="rId17"/>
  </p:notesMasterIdLst>
  <p:handoutMasterIdLst>
    <p:handoutMasterId r:id="rId18"/>
  </p:handoutMasterIdLst>
  <p:sldIdLst>
    <p:sldId id="278" r:id="rId3"/>
    <p:sldId id="520" r:id="rId4"/>
    <p:sldId id="694" r:id="rId5"/>
    <p:sldId id="513" r:id="rId6"/>
    <p:sldId id="648" r:id="rId7"/>
    <p:sldId id="514" r:id="rId8"/>
    <p:sldId id="523" r:id="rId9"/>
    <p:sldId id="655" r:id="rId10"/>
    <p:sldId id="695" r:id="rId11"/>
    <p:sldId id="696" r:id="rId12"/>
    <p:sldId id="697" r:id="rId13"/>
    <p:sldId id="698" r:id="rId14"/>
    <p:sldId id="690" r:id="rId15"/>
    <p:sldId id="676" r:id="rId16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1888B9"/>
    <a:srgbClr val="E7F5FE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62" d="100"/>
          <a:sy n="62" d="100"/>
        </p:scale>
        <p:origin x="702" y="78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7.1886915801583948E-2"/>
                  <c:y val="5.7084970494810587E-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Федеральное имущество - </a:t>
                    </a:r>
                    <a:r>
                      <a:rPr lang="ru-RU" sz="1200" dirty="0" smtClean="0"/>
                      <a:t>719</a:t>
                    </a:r>
                    <a:endParaRPr lang="ru-RU" sz="1200" dirty="0"/>
                  </a:p>
                </c:rich>
              </c:tx>
              <c:spPr>
                <a:xfrm>
                  <a:off x="2997204" y="500889"/>
                  <a:ext cx="2056005" cy="435110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7712"/>
                        <a:gd name="adj2" fmla="val 2387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687107798805117"/>
                      <c:h val="0.14032904809037874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14919598790728114"/>
                  <c:y val="3.321571249299739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Государственное (субъектов РФ) имущество -  </a:t>
                    </a:r>
                    <a:r>
                      <a:rPr lang="ru-RU" sz="1200" dirty="0" smtClean="0"/>
                      <a:t>8</a:t>
                    </a:r>
                    <a:r>
                      <a:rPr lang="ru-RU" sz="1200" baseline="0" dirty="0" smtClean="0"/>
                      <a:t> 128</a:t>
                    </a:r>
                    <a:endParaRPr lang="ru-RU" sz="1200" dirty="0"/>
                  </a:p>
                </c:rich>
              </c:tx>
              <c:spPr>
                <a:xfrm>
                  <a:off x="3657654" y="1023754"/>
                  <a:ext cx="1395555" cy="548943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15189"/>
                        <a:gd name="adj2" fmla="val -10723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617206048742793"/>
                      <c:h val="0.21390512477903761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70126876671840188"/>
                  <c:y val="0.1997198321250348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Муниципальное имущество -  </a:t>
                    </a:r>
                    <a:r>
                      <a:rPr lang="ru-RU" sz="1200" dirty="0" smtClean="0"/>
                      <a:t>36 260</a:t>
                    </a:r>
                    <a:endParaRPr lang="ru-RU" sz="1200" dirty="0"/>
                  </a:p>
                </c:rich>
              </c:tx>
              <c:spPr>
                <a:xfrm>
                  <a:off x="3592514" y="1641731"/>
                  <a:ext cx="1459854" cy="457169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8866"/>
                        <a:gd name="adj2" fmla="val -4101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439409323575004"/>
                      <c:h val="0.14744370599498619"/>
                    </c:manualLayout>
                  </c15:layout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20.09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20.09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1512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430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7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081980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784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20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20.09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20.09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20.09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20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20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20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20.09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20.09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20.09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20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20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20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11" Type="http://schemas.openxmlformats.org/officeDocument/2006/relationships/image" Target="../media/image17.png"/><Relationship Id="rId5" Type="http://schemas.openxmlformats.org/officeDocument/2006/relationships/image" Target="../media/image6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2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7"/>
            <a:ext cx="12599988" cy="41029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7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18.09.2017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осква, 2017 г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265352" y="1845140"/>
            <a:ext cx="12051180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65,13 млрд руб.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1498292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7 ГОДА: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ыданных в 2017 г. гарантий и поручительств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</a:t>
            </a: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95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,48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2426" y="2999977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7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18 сентября  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01036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7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 сентября 2017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4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6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8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Программы на 2017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348364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59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13,9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483648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7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18 сентября 2017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44,5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9118" y="971363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0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4,3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2,8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6,5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49,3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1041965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3060" y="2174187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7 года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85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289595" y="2482452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концу 2018 года (нарастающим итогом за 2016 - 2018гг.)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500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4437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5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 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 сентября 2017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4,67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25,68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10,35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39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3559" y="6519400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35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060265" y="-70123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мущественная поддержка. Образовательные программы для предпринимателей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49" y="880623"/>
            <a:ext cx="5950059" cy="3825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 и ЕПГУ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764131" y="1592563"/>
          <a:ext cx="5254315" cy="3100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95426" y="870347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11419" y="4186985"/>
            <a:ext cx="5688945" cy="8142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состоянию на </a:t>
            </a:r>
            <a:r>
              <a:rPr lang="ru-RU" sz="1400" b="1" kern="0" dirty="0" smtClean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8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сентября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2017 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–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44</a:t>
            </a:r>
            <a:r>
              <a:rPr kumimoji="0" lang="ru-RU" sz="1400" b="1" i="0" u="none" strike="noStrike" kern="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902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бъекта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31 декабря 2015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ост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авил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58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" name="TextBox 66"/>
          <p:cNvSpPr txBox="1">
            <a:spLocks noChangeArrowheads="1"/>
          </p:cNvSpPr>
          <p:nvPr/>
        </p:nvSpPr>
        <p:spPr bwMode="auto">
          <a:xfrm>
            <a:off x="1009463" y="6088636"/>
            <a:ext cx="5806088" cy="238783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Азбука предпринимателя»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altLang="ru-RU" sz="1500" b="1" i="1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 (обучены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22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Мама-предприниматель»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ОРОЙ России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«В ответе за будущее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частниц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получили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2575" y="5619822"/>
            <a:ext cx="12030075" cy="40433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зовательные программы Корпораци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для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тенциальны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йствующих предпринимателей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756910" y="6009211"/>
            <a:ext cx="5660843" cy="259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я»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alt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состоянию на </a:t>
            </a:r>
            <a:r>
              <a:rPr lang="en-US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01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0</a:t>
            </a:r>
            <a:r>
              <a:rPr kumimoji="0" lang="en-US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2017):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4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 более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229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а и обучено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405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4138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юзом «Агентство развития профессиональных сообществ 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чих кадров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</a:t>
            </a:r>
            <a:r>
              <a:rPr kumimoji="0" lang="ru-RU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рлдскиллс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оссия»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</a:t>
            </a:r>
            <a:r>
              <a:rPr kumimoji="0" lang="ru-RU" altLang="ru-RU" sz="1500" b="0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  <a:r>
              <a:rPr kumimoji="0" lang="ru-RU" altLang="ru-RU" sz="1500" b="1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минаров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развитию предпринимательских навыков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частие в семинарах приняли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5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удентов колледжей</a:t>
            </a: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ма-предприниматель» (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ПОРОЙ России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– проведена в </a:t>
            </a:r>
            <a:r>
              <a:rPr lang="en-US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4</a:t>
            </a:r>
            <a:r>
              <a:rPr kumimoji="0" lang="ru-RU" altLang="ru-RU" sz="15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х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ции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конца год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4" name="Pentagon 35"/>
          <p:cNvSpPr/>
          <p:nvPr/>
        </p:nvSpPr>
        <p:spPr>
          <a:xfrm>
            <a:off x="292589" y="617190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Pentagon 35"/>
          <p:cNvSpPr/>
          <p:nvPr/>
        </p:nvSpPr>
        <p:spPr>
          <a:xfrm>
            <a:off x="272776" y="615920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36" name="Pentagon 35"/>
          <p:cNvSpPr/>
          <p:nvPr/>
        </p:nvSpPr>
        <p:spPr>
          <a:xfrm>
            <a:off x="5881487" y="6175652"/>
            <a:ext cx="882644" cy="420688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Pentagon 35"/>
          <p:cNvSpPr/>
          <p:nvPr/>
        </p:nvSpPr>
        <p:spPr>
          <a:xfrm>
            <a:off x="5851164" y="6169302"/>
            <a:ext cx="809294" cy="421071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11306" y="1346439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5637" y="3755517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73763" y="4415899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64794" y="1777647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66"/>
          <p:cNvSpPr txBox="1">
            <a:spLocks noChangeArrowheads="1"/>
          </p:cNvSpPr>
          <p:nvPr/>
        </p:nvSpPr>
        <p:spPr bwMode="auto">
          <a:xfrm>
            <a:off x="128611" y="1818660"/>
            <a:ext cx="6229158" cy="193899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за 6 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год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услуг (имущество, заказчики, финансы, господдержка, тренинги, номенклатура закупок, Бизнес-навигатор МСП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);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5.08.2017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– все 7 услуг размещены на Едином портале </a:t>
            </a:r>
            <a:r>
              <a:rPr lang="ru-RU" altLang="ru-RU" sz="16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госуслуг</a:t>
            </a:r>
            <a:endParaRPr lang="ru-RU" altLang="ru-RU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9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 (господдержка, тренинги, номенклатура закупок, Бизнес-навигатор МСП, кредитно-гарантийная поддержка) </a:t>
            </a:r>
          </a:p>
        </p:txBody>
      </p:sp>
      <p:sp>
        <p:nvSpPr>
          <p:cNvPr id="41" name="TextBox 66"/>
          <p:cNvSpPr txBox="1">
            <a:spLocks noChangeArrowheads="1"/>
          </p:cNvSpPr>
          <p:nvPr/>
        </p:nvSpPr>
        <p:spPr bwMode="auto">
          <a:xfrm>
            <a:off x="128610" y="4468169"/>
            <a:ext cx="6344839" cy="10413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3,8 тыс.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за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8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года –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86,14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тыс.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«уникальных» субъектов МСП </a:t>
            </a: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,0 тыс.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003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70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85-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кредита: до 10 лет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763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о комплектов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зданий и сооружений жилого и промышленного назначения на основе конструкционного строительного материала – панели 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CLT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сная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ромышленность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70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6682246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я производства и радиохимического выделения активной фармацевтической субстанции стронция-8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 58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сширение собственных производственных мощностей химического предприятия и увеличение объемов производства перспективных видов продукци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6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11857060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завода по выпуску технических дисперсий для картона и бумаги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</a:t>
                      </a:r>
                      <a:endParaRPr lang="ru-RU" sz="120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0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7 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9 проектов общим бюджетом 10,096 млрд 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2219" y="8163168"/>
            <a:ext cx="120075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2144" fontAlgn="ctr"/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 рассмотрении в рамках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механизма Инвестиционный лифт </a:t>
            </a: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ходятся 5 проектов фармацевтической, химической, лесной промышленности, </a:t>
            </a:r>
            <a:b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</a:b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теплоэнергетики. Общий бюджет рассматриваемых проектов составляет 8 260 млн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2160860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82619" y="2124796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 (по состоянию </a:t>
            </a:r>
            <a:r>
              <a:rPr lang="ru-RU" sz="2000" b="1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 18.09.2017</a:t>
            </a: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2574" y="1006449"/>
            <a:ext cx="12036425" cy="12035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объем закупок у субъектов МСП 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,511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 </a:t>
            </a:r>
          </a:p>
          <a:p>
            <a:pPr algn="ctr"/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на </a:t>
            </a:r>
            <a:r>
              <a:rPr lang="ru-RU" i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ании данных, подтвержденных Федеральным казначейством, ФНС </a:t>
            </a:r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оссии)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586004"/>
            <a:ext cx="3455309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34342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0 до </a:t>
            </a: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89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%), 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</a:t>
            </a: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почти 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0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3568532"/>
            <a:ext cx="3513172" cy="23992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39719" y="3608657"/>
            <a:ext cx="3481858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концу 2017 года: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целевой показатель-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35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996902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регионов – лидеров</a:t>
            </a:r>
            <a:r>
              <a:rPr lang="ru-RU" sz="1400" dirty="0">
                <a:latin typeface="Arial Narrow" panose="020B0606020202030204" pitchFamily="34" charset="0"/>
              </a:rPr>
              <a:t>: город Москва </a:t>
            </a:r>
            <a:r>
              <a:rPr lang="ru-RU" sz="1400" dirty="0" smtClean="0">
                <a:latin typeface="Arial Narrow" panose="020B0606020202030204" pitchFamily="34" charset="0"/>
              </a:rPr>
              <a:t>(510,3 </a:t>
            </a:r>
            <a:r>
              <a:rPr lang="ru-RU" sz="1400" dirty="0">
                <a:latin typeface="Arial Narrow" panose="020B0606020202030204" pitchFamily="34" charset="0"/>
              </a:rPr>
              <a:t>млрд руб.), город Санкт-Петербург </a:t>
            </a:r>
            <a:r>
              <a:rPr lang="ru-RU" sz="1400" dirty="0" smtClean="0">
                <a:latin typeface="Arial Narrow" panose="020B0606020202030204" pitchFamily="34" charset="0"/>
              </a:rPr>
              <a:t>(122,6 </a:t>
            </a:r>
            <a:r>
              <a:rPr lang="ru-RU" sz="1400" dirty="0">
                <a:latin typeface="Arial Narrow" panose="020B0606020202030204" pitchFamily="34" charset="0"/>
              </a:rPr>
              <a:t>млрд руб.), Московская область </a:t>
            </a:r>
            <a:r>
              <a:rPr lang="ru-RU" sz="1400" dirty="0" smtClean="0">
                <a:latin typeface="Arial Narrow" panose="020B0606020202030204" pitchFamily="34" charset="0"/>
              </a:rPr>
              <a:t>(68,7 </a:t>
            </a:r>
            <a:r>
              <a:rPr lang="ru-RU" sz="1400" dirty="0">
                <a:latin typeface="Arial Narrow" panose="020B0606020202030204" pitchFamily="34" charset="0"/>
              </a:rPr>
              <a:t>млрд руб.), Ханты-Мансийский автономный округ - Югра (</a:t>
            </a:r>
            <a:r>
              <a:rPr lang="ru-RU" sz="1400" dirty="0" smtClean="0">
                <a:latin typeface="Arial Narrow" panose="020B0606020202030204" pitchFamily="34" charset="0"/>
              </a:rPr>
              <a:t>66,4 </a:t>
            </a:r>
            <a:r>
              <a:rPr lang="ru-RU" sz="1400" dirty="0">
                <a:latin typeface="Arial Narrow" panose="020B0606020202030204" pitchFamily="34" charset="0"/>
              </a:rPr>
              <a:t>млрд руб.), </a:t>
            </a:r>
            <a:r>
              <a:rPr lang="ru-RU" sz="1400" smtClean="0">
                <a:latin typeface="Arial Narrow" panose="020B0606020202030204" pitchFamily="34" charset="0"/>
              </a:rPr>
              <a:t>Свердловская область </a:t>
            </a:r>
            <a:r>
              <a:rPr lang="ru-RU" sz="1400">
                <a:latin typeface="Arial Narrow" panose="020B0606020202030204" pitchFamily="34" charset="0"/>
              </a:rPr>
              <a:t>(</a:t>
            </a:r>
            <a:r>
              <a:rPr lang="ru-RU" sz="1400" smtClean="0">
                <a:latin typeface="Arial Narrow" panose="020B0606020202030204" pitchFamily="34" charset="0"/>
              </a:rPr>
              <a:t>51,2 </a:t>
            </a:r>
            <a:r>
              <a:rPr lang="ru-RU" sz="1400" dirty="0">
                <a:latin typeface="Arial Narrow" panose="020B0606020202030204" pitchFamily="34" charset="0"/>
              </a:rPr>
              <a:t>млрд рублей) </a:t>
            </a:r>
            <a:endParaRPr lang="ru-RU" sz="1400" b="1" dirty="0" smtClean="0">
              <a:latin typeface="Arial Narrow" panose="020B0606020202030204" pitchFamily="34" charset="0"/>
            </a:endParaRPr>
          </a:p>
          <a:p>
            <a:pPr marL="0" lvl="1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endParaRPr lang="ru-RU" sz="1400" b="1" kern="1200" spc="0" baseline="0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169475"/>
            <a:ext cx="9969026" cy="921003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8001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57 заказчиков</a:t>
            </a:r>
            <a:r>
              <a:rPr lang="ru-RU" sz="1400" dirty="0" smtClean="0">
                <a:latin typeface="Arial Narrow" panose="020B0606020202030204" pitchFamily="34" charset="0"/>
              </a:rPr>
              <a:t> утвердили программы партнерства, участниками которых стал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1 318 субъектов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МСП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;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Arial Narrow" panose="020B0606020202030204" pitchFamily="34" charset="0"/>
              </a:rPr>
              <a:t>Корпорацией подписаны </a:t>
            </a:r>
            <a:r>
              <a:rPr lang="ru-RU" sz="1400" dirty="0">
                <a:latin typeface="Arial Narrow" panose="020B0606020202030204" pitchFamily="34" charset="0"/>
              </a:rPr>
              <a:t>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ами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заказчиков-лидеров</a:t>
            </a:r>
            <a:r>
              <a:rPr lang="ru-RU" sz="1400" dirty="0" smtClean="0">
                <a:latin typeface="Arial Narrow" panose="020B0606020202030204" pitchFamily="34" charset="0"/>
              </a:rPr>
              <a:t>: ОАО «РЖД» (151,6 млрд руб.), ПАО «Ростелеком» (96,9 млрд руб.), АО «</a:t>
            </a:r>
            <a:r>
              <a:rPr lang="ru-RU" sz="1400" dirty="0" err="1" smtClean="0">
                <a:latin typeface="Arial Narrow" panose="020B0606020202030204" pitchFamily="34" charset="0"/>
              </a:rPr>
              <a:t>РЖДстрой</a:t>
            </a:r>
            <a:r>
              <a:rPr lang="ru-RU" sz="1400" dirty="0" smtClean="0">
                <a:latin typeface="Arial Narrow" panose="020B0606020202030204" pitchFamily="34" charset="0"/>
              </a:rPr>
              <a:t>» (63,3 млрд руб.),          ПАО </a:t>
            </a:r>
            <a:r>
              <a:rPr lang="ru-RU" sz="1400" dirty="0">
                <a:latin typeface="Arial Narrow" panose="020B0606020202030204" pitchFamily="34" charset="0"/>
              </a:rPr>
              <a:t>«НК «Роснефть» </a:t>
            </a:r>
            <a:r>
              <a:rPr lang="ru-RU" sz="1400" dirty="0" smtClean="0">
                <a:latin typeface="Arial Narrow" panose="020B0606020202030204" pitchFamily="34" charset="0"/>
              </a:rPr>
              <a:t>(52,9 </a:t>
            </a:r>
            <a:r>
              <a:rPr lang="ru-RU" sz="1400" dirty="0">
                <a:latin typeface="Arial Narrow" panose="020B0606020202030204" pitchFamily="34" charset="0"/>
              </a:rPr>
              <a:t>млрд руб</a:t>
            </a:r>
            <a:r>
              <a:rPr lang="ru-RU" sz="1400" dirty="0" smtClean="0">
                <a:latin typeface="Arial Narrow" panose="020B0606020202030204" pitchFamily="34" charset="0"/>
              </a:rPr>
              <a:t>.), ПАО Сбербанк (46,5 млрд руб.)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557679" y="399247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28,7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7831" y="4307477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55 543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и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39719" y="370441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380 трлн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975645" y="4550674"/>
            <a:ext cx="272247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6 трлн руб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. </a:t>
            </a:r>
            <a:endParaRPr lang="ru-RU" sz="2800" b="1" dirty="0" smtClean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i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 учетом расширения перечня заказчиков</a:t>
            </a:r>
            <a:r>
              <a:rPr lang="ru-RU" sz="14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с 200 до 419):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целевой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казатель -</a:t>
            </a:r>
            <a:endParaRPr lang="ru-RU" sz="13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 defTabSz="889000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2 трлн рублей 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469055" y="262292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2700719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2792517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64797" y="2819174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45719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9562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1176" y="2922671"/>
            <a:ext cx="3907923" cy="461934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135952" y="2908066"/>
            <a:ext cx="3919596" cy="53608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5328" y="2908066"/>
            <a:ext cx="4015286" cy="157974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245328" y="2891119"/>
            <a:ext cx="4073672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3847031" y="34771"/>
            <a:ext cx="8865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82575" y="1007111"/>
            <a:ext cx="12077013" cy="84461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период с 1 января по 26 июля 2017 года, с 25 650 субъектами МСП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ключено 67 264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а на общую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мму </a:t>
            </a:r>
            <a:r>
              <a:rPr kumimoji="0" lang="ru-RU" sz="36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93,1</a:t>
            </a: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238512" y="1889684"/>
            <a:ext cx="4080488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29288" y="1889684"/>
            <a:ext cx="3775084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значейств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2" y="1889683"/>
            <a:ext cx="3900079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являющихся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238512" y="2891120"/>
            <a:ext cx="4028919" cy="5543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93720" y="84614"/>
            <a:ext cx="1525280" cy="79059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7" y="0"/>
            <a:ext cx="2163618" cy="984251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288" y="2866089"/>
            <a:ext cx="3772736" cy="5308922"/>
          </a:xfrm>
          <a:prstGeom prst="rect">
            <a:avLst/>
          </a:prstGeom>
          <a:noFill/>
        </p:spPr>
      </p:pic>
      <p:sp>
        <p:nvSpPr>
          <p:cNvPr id="33" name="Скругленный прямоугольник 32"/>
          <p:cNvSpPr/>
          <p:nvPr/>
        </p:nvSpPr>
        <p:spPr>
          <a:xfrm>
            <a:off x="2441575" y="6701551"/>
            <a:ext cx="1332431" cy="15644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с  33  010   поставщиками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82575" y="6893128"/>
            <a:ext cx="2189397" cy="1617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на общую сумму 4 356 637 465 068,67 рубля.  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728417" y="5895101"/>
            <a:ext cx="1135933" cy="15009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3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 33 010 поставщиков</a:t>
            </a:r>
            <a:endParaRPr kumimoji="0" lang="ru-RU" sz="83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582614" y="6241155"/>
            <a:ext cx="1868985" cy="15456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 24 430 внесены в указанный реестр.</a:t>
            </a:r>
            <a:endParaRPr kumimoji="0" lang="ru-RU" sz="82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t="10280"/>
          <a:stretch/>
        </p:blipFill>
        <p:spPr>
          <a:xfrm>
            <a:off x="8461591" y="4612861"/>
            <a:ext cx="3679427" cy="239736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9"/>
          <a:srcRect t="2621" r="174" b="70533"/>
          <a:stretch/>
        </p:blipFill>
        <p:spPr>
          <a:xfrm>
            <a:off x="8461591" y="7019925"/>
            <a:ext cx="3673036" cy="4243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5488" y="4425398"/>
            <a:ext cx="1614964" cy="160798"/>
          </a:xfrm>
          <a:prstGeom prst="rect">
            <a:avLst/>
          </a:prstGeom>
        </p:spPr>
      </p:pic>
      <p:sp>
        <p:nvSpPr>
          <p:cNvPr id="37" name="Скругленный прямоугольник 36"/>
          <p:cNvSpPr/>
          <p:nvPr/>
        </p:nvSpPr>
        <p:spPr>
          <a:xfrm>
            <a:off x="8715457" y="5946050"/>
            <a:ext cx="3425560" cy="15747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За период с 01 января по 26 июля 2017 года крупнейшими заказчиками,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1603162" y="6390780"/>
            <a:ext cx="537855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ключено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8453515" y="6557897"/>
            <a:ext cx="3687501" cy="1436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67 264 договора  на  общую  сумму  893 149 264 721,95 рублей (за исключение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453514" y="6709552"/>
            <a:ext cx="3687501" cy="12461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внутригрупповых закупок)    с   25   650    поставщиками   и   субподрядными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8450643" y="6842171"/>
            <a:ext cx="2401673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организациями, являющимися субъектами МСП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65766" y="7334250"/>
            <a:ext cx="1468861" cy="92531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29288" y="2891119"/>
            <a:ext cx="3791061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954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460041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декабрь 2016 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данные Счет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алаты Российской Федерации по итогам 2015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анные Минэкономразвития России по итогам первог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олугодия 2016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2,9</a:t>
              </a: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9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23389" y="568522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,83 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336226" y="587478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4,6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31069" y="5874789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63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6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8368" y="7594359"/>
            <a:ext cx="1795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2,6 раза 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298881" y="7581907"/>
            <a:ext cx="196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1,1 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8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,7 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883260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 219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контактный телефон не является уникальным</a:t>
            </a: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 655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 адрес не является уникальным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36811" y="3110456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217,65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8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0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МСП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857953" y="1145204"/>
            <a:ext cx="864894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184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а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9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в рамках осуществления внутригрупповых закупок между основным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очерними хозяйственными обществами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поставщиков</a:t>
              </a: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258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- поставщик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03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(или) расширения 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.09.2017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11540"/>
              </p:ext>
            </p:extLst>
          </p:nvPr>
        </p:nvGraphicFramePr>
        <p:xfrm>
          <a:off x="898141" y="2666590"/>
          <a:ext cx="10902999" cy="48165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xmlns="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xmlns="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xmlns="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18.09.2017</a:t>
                      </a:r>
                      <a:b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</a:t>
                      </a:r>
                      <a:r>
                        <a:rPr lang="ru-RU" sz="17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Яндекс-метрики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0 0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 0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 897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372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7 31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686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5592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52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670</TotalTime>
  <Words>2772</Words>
  <Application>Microsoft Office PowerPoint</Application>
  <PresentationFormat>Произвольный</PresentationFormat>
  <Paragraphs>463</Paragraphs>
  <Slides>14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Arial</vt:lpstr>
      <vt:lpstr>Arial Narrow</vt:lpstr>
      <vt:lpstr>Calibri</vt:lpstr>
      <vt:lpstr>Calibri Light</vt:lpstr>
      <vt:lpstr>Tahoma</vt:lpstr>
      <vt:lpstr>Times New Roman</vt:lpstr>
      <vt:lpstr>Wingdings</vt:lpstr>
      <vt:lpstr>Тема Office</vt:lpstr>
      <vt:lpstr>1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РК Союз Промышленников</cp:lastModifiedBy>
  <cp:revision>921</cp:revision>
  <cp:lastPrinted>2017-08-28T14:26:25Z</cp:lastPrinted>
  <dcterms:created xsi:type="dcterms:W3CDTF">2015-12-16T13:43:54Z</dcterms:created>
  <dcterms:modified xsi:type="dcterms:W3CDTF">2017-09-20T08:59:09Z</dcterms:modified>
</cp:coreProperties>
</file>